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8" r:id="rId4"/>
    <p:sldMasterId id="2147483820" r:id="rId5"/>
    <p:sldMasterId id="2147483832" r:id="rId6"/>
    <p:sldMasterId id="2147483870" r:id="rId7"/>
    <p:sldMasterId id="2147483883" r:id="rId8"/>
    <p:sldMasterId id="2147483896" r:id="rId9"/>
  </p:sldMasterIdLst>
  <p:notesMasterIdLst>
    <p:notesMasterId r:id="rId15"/>
  </p:notesMasterIdLst>
  <p:handoutMasterIdLst>
    <p:handoutMasterId r:id="rId16"/>
  </p:handoutMasterIdLst>
  <p:sldIdLst>
    <p:sldId id="370" r:id="rId10"/>
    <p:sldId id="396" r:id="rId11"/>
    <p:sldId id="401" r:id="rId12"/>
    <p:sldId id="403" r:id="rId13"/>
    <p:sldId id="402" r:id="rId14"/>
  </p:sldIdLst>
  <p:sldSz cx="12192000" cy="6858000"/>
  <p:notesSz cx="6797675" cy="9872663"/>
  <p:custDataLst>
    <p:tags r:id="rId17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0A35F5-6F7D-E43E-8F52-CDF55CA47EC2}" name="Une Tangen" initials="UT" userId="S::une.tangen@ks.no::ec6dd4d0-9964-4f1e-b96c-324c3d55b21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1A58"/>
    <a:srgbClr val="BCCFE8"/>
    <a:srgbClr val="008CD3"/>
    <a:srgbClr val="0010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EEAFC5-F6C0-4FB7-A7B7-027073A1BA36}" v="60" dt="2023-12-12T14:26:17.7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6395" autoAdjust="0"/>
  </p:normalViewPr>
  <p:slideViewPr>
    <p:cSldViewPr snapToGrid="0" snapToObjects="1">
      <p:cViewPr varScale="1">
        <p:scale>
          <a:sx n="107" d="100"/>
          <a:sy n="107" d="100"/>
        </p:scale>
        <p:origin x="138" y="1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90" d="100"/>
        <a:sy n="190" d="100"/>
      </p:scale>
      <p:origin x="0" y="-8155"/>
    </p:cViewPr>
  </p:sorterViewPr>
  <p:notesViewPr>
    <p:cSldViewPr snapToGrid="0" snapToObjects="1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6778F-9D10-D546-AD42-60AA27D9D64A}" type="datetimeFigureOut">
              <a:t>3/14/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5C552-36E2-FE4A-8959-3A7D73BFBA2A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891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8641E-22C6-442F-B7A7-A6EDCE5CAC5A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73965F-E4D9-4280-9CE3-125098F02CB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5400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sz="11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20ECF6-CBA6-4537-B7B7-E29CDAD6BD8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844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19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1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2138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54340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72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7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18832926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617953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26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42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125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063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40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84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668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713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511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2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625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0" cap="none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527067" y="1844679"/>
            <a:ext cx="11137900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8414587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2 colum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3" y="476252"/>
            <a:ext cx="11137899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chemeClr val="accent3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641"/>
            <a:ext cx="11137900" cy="28761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7052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288619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4253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06921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hv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27051" y="1557342"/>
            <a:ext cx="8544984" cy="1211977"/>
          </a:xfrm>
        </p:spPr>
        <p:txBody>
          <a:bodyPr wrap="square" anchor="b" anchorCtr="0">
            <a:normAutofit/>
          </a:bodyPr>
          <a:lstStyle>
            <a:lvl1pPr>
              <a:defRPr sz="4000" b="1" i="1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Click to add section divider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1" y="3068640"/>
            <a:ext cx="8352368" cy="307776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+mn-lt"/>
              </a:defRPr>
            </a:lvl1pPr>
            <a:lvl2pPr marL="456377" indent="0">
              <a:buNone/>
              <a:defRPr sz="1800"/>
            </a:lvl2pPr>
            <a:lvl3pPr marL="912756" indent="0">
              <a:buNone/>
              <a:defRPr sz="1500"/>
            </a:lvl3pPr>
            <a:lvl4pPr marL="1369132" indent="0">
              <a:buNone/>
              <a:defRPr sz="1400"/>
            </a:lvl4pPr>
            <a:lvl5pPr marL="1825516" indent="0">
              <a:buNone/>
              <a:defRPr sz="1400"/>
            </a:lvl5pPr>
            <a:lvl6pPr marL="2281895" indent="0">
              <a:buNone/>
              <a:defRPr sz="1400"/>
            </a:lvl6pPr>
            <a:lvl7pPr marL="2738274" indent="0">
              <a:buNone/>
              <a:defRPr sz="1400"/>
            </a:lvl7pPr>
            <a:lvl8pPr marL="3194652" indent="0">
              <a:buNone/>
              <a:defRPr sz="1400"/>
            </a:lvl8pPr>
            <a:lvl9pPr marL="3651032" indent="0">
              <a:buNone/>
              <a:defRPr sz="1400"/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18" name="Rett linje 12"/>
          <p:cNvCxnSpPr/>
          <p:nvPr userDrawn="1"/>
        </p:nvCxnSpPr>
        <p:spPr>
          <a:xfrm>
            <a:off x="527053" y="2924944"/>
            <a:ext cx="8544984" cy="0"/>
          </a:xfrm>
          <a:prstGeom prst="line">
            <a:avLst/>
          </a:prstGeom>
          <a:ln w="31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834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 (light green)">
    <p:bg>
      <p:bgPr>
        <a:solidFill>
          <a:srgbClr val="DB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0871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1373" y="332656"/>
            <a:ext cx="11329259" cy="6048672"/>
          </a:xfrm>
          <a:prstGeom prst="rect">
            <a:avLst/>
          </a:prstGeom>
          <a:solidFill>
            <a:schemeClr val="accent5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2" tIns="45651" rIns="91292" bIns="45651" rtlCol="0" anchor="t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59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95401" y="3213100"/>
            <a:ext cx="9696451" cy="259238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bg1"/>
                </a:solidFill>
              </a:defRPr>
            </a:lvl2pPr>
            <a:lvl3pPr algn="ctr">
              <a:defRPr sz="2000">
                <a:solidFill>
                  <a:schemeClr val="bg1"/>
                </a:solidFill>
              </a:defRPr>
            </a:lvl3pPr>
            <a:lvl4pPr algn="ctr">
              <a:defRPr sz="2000">
                <a:solidFill>
                  <a:schemeClr val="bg1"/>
                </a:solidFill>
              </a:defRPr>
            </a:lvl4pPr>
            <a:lvl5pPr algn="ctr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295412" y="476251"/>
            <a:ext cx="9696453" cy="2305050"/>
          </a:xfrm>
        </p:spPr>
        <p:txBody>
          <a:bodyPr wrap="square" anchor="b" anchorCtr="0">
            <a:normAutofit/>
          </a:bodyPr>
          <a:lstStyle>
            <a:lvl1pPr algn="ctr">
              <a:lnSpc>
                <a:spcPct val="120000"/>
              </a:lnSpc>
              <a:defRPr sz="6000" b="1" i="1" cap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ighlight</a:t>
            </a:r>
          </a:p>
        </p:txBody>
      </p:sp>
    </p:spTree>
    <p:extLst>
      <p:ext uri="{BB962C8B-B14F-4D97-AF65-F5344CB8AC3E}">
        <p14:creationId xmlns:p14="http://schemas.microsoft.com/office/powerpoint/2010/main" val="3730298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7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(bordeaux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60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black)">
    <p:bg>
      <p:bgPr>
        <a:solidFill>
          <a:schemeClr val="accent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599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12429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60416" y="6623221"/>
            <a:ext cx="3860800" cy="115195"/>
          </a:xfrm>
          <a:prstGeom prst="rect">
            <a:avLst/>
          </a:prstGeom>
        </p:spPr>
        <p:txBody>
          <a:bodyPr vert="horz" lIns="0" tIns="72000" rIns="36000" bIns="7200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C3AFC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09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07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2106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9093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18758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89474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2210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80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9703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97052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47016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05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133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759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56" y="6159560"/>
            <a:ext cx="3137663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7341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7881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278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98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6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329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088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9752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5524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245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7493467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7818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36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064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9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183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14/03/2024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6" y="6308351"/>
            <a:ext cx="2826826" cy="2555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9F306B5-2FFE-4AA8-BFAA-FEED344911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20510" y="621831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476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788896D-DB7F-4431-AB25-726EE7A5E2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82302" y="6158175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33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5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44776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90265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741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5307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5799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1403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2853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148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8610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805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6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831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979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7916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14/03/2024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47541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14/03/2024</a:t>
            </a:fld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758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2201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4786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4967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3512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11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5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124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3939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302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9670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0916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3156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269398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8332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6527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703032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14.03.2024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6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6712553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208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6538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7293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4/03/2024</a:t>
            </a:fld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5846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14/03/2024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9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4/03/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4419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image" Target="../media/image10.png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image" Target="../media/image9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image" Target="../media/image11.emf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7621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8571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40296189"/>
              </p:ext>
            </p:extLst>
          </p:nvPr>
        </p:nvGraphicFramePr>
        <p:xfrm>
          <a:off x="2121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2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2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052" y="475200"/>
            <a:ext cx="11136000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0826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2" y="1843200"/>
            <a:ext cx="11136000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000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500" b="1" i="0">
          <a:solidFill>
            <a:schemeClr val="accent3"/>
          </a:solidFill>
          <a:latin typeface="+mn-lt"/>
          <a:ea typeface="+mj-ea"/>
          <a:cs typeface="Times New Roman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5pPr>
      <a:lvl6pPr marL="51115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6pPr>
      <a:lvl7pPr marL="1022302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7pPr>
      <a:lvl8pPr marL="1533451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8pPr>
      <a:lvl9pPr marL="204461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9pPr>
    </p:titleStyle>
    <p:bodyStyle>
      <a:lvl1pPr marL="266268" indent="-266268" algn="l" rtl="0" eaLnBrk="1" fontAlgn="base" hangingPunct="1">
        <a:spcBef>
          <a:spcPts val="336"/>
        </a:spcBef>
        <a:spcAft>
          <a:spcPts val="336"/>
        </a:spcAft>
        <a:buFont typeface="Arial" panose="020B0604020202020204" pitchFamily="34" charset="0"/>
        <a:buChar char="•"/>
        <a:defRPr sz="2000">
          <a:solidFill>
            <a:srgbClr val="080808"/>
          </a:solidFill>
          <a:latin typeface="+mn-lt"/>
          <a:ea typeface="+mn-ea"/>
          <a:cs typeface="Arial" pitchFamily="34" charset="0"/>
        </a:defRPr>
      </a:lvl1pPr>
      <a:lvl2pPr marL="542047" indent="-275779" algn="l" rtl="0" eaLnBrk="1" fontAlgn="base" hangingPunct="1">
        <a:spcBef>
          <a:spcPts val="448"/>
        </a:spcBef>
        <a:spcAft>
          <a:spcPts val="448"/>
        </a:spcAft>
        <a:buChar char="–"/>
        <a:defRPr sz="2000">
          <a:solidFill>
            <a:srgbClr val="080808"/>
          </a:solidFill>
          <a:latin typeface="+mn-lt"/>
          <a:cs typeface="Arial" pitchFamily="34" charset="0"/>
        </a:defRPr>
      </a:lvl2pPr>
      <a:lvl3pPr marL="903391" indent="-296404" algn="l" rtl="0" eaLnBrk="1" fontAlgn="base" hangingPunct="1">
        <a:spcBef>
          <a:spcPts val="448"/>
        </a:spcBef>
        <a:spcAft>
          <a:spcPts val="448"/>
        </a:spcAft>
        <a:buChar char="•"/>
        <a:defRPr sz="2600">
          <a:solidFill>
            <a:srgbClr val="080808"/>
          </a:solidFill>
          <a:latin typeface="+mn-lt"/>
          <a:cs typeface="Arial" pitchFamily="34" charset="0"/>
        </a:defRPr>
      </a:lvl3pPr>
      <a:lvl4pPr marL="1308052" indent="-308822" algn="l" rtl="0" eaLnBrk="1" fontAlgn="base" hangingPunct="1">
        <a:spcBef>
          <a:spcPts val="448"/>
        </a:spcBef>
        <a:spcAft>
          <a:spcPts val="448"/>
        </a:spcAft>
        <a:buChar char="–"/>
        <a:defRPr sz="2600">
          <a:solidFill>
            <a:srgbClr val="080808"/>
          </a:solidFill>
          <a:latin typeface="+mn-lt"/>
          <a:cs typeface="Arial" pitchFamily="34" charset="0"/>
        </a:defRPr>
      </a:lvl4pPr>
      <a:lvl5pPr marL="1700285" indent="-298170" algn="l" rtl="0" eaLnBrk="1" fontAlgn="base" hangingPunct="1">
        <a:spcBef>
          <a:spcPts val="448"/>
        </a:spcBef>
        <a:spcAft>
          <a:spcPts val="448"/>
        </a:spcAft>
        <a:buChar char="»"/>
        <a:defRPr sz="2600">
          <a:solidFill>
            <a:srgbClr val="080808"/>
          </a:solidFill>
          <a:latin typeface="+mn-lt"/>
          <a:cs typeface="Arial" pitchFamily="34" charset="0"/>
        </a:defRPr>
      </a:lvl5pPr>
      <a:lvl6pPr marL="2811330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6pPr>
      <a:lvl7pPr marL="3322481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7pPr>
      <a:lvl8pPr marL="3833638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8pPr>
      <a:lvl9pPr marL="4344784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9pPr>
    </p:bodyStyle>
    <p:otherStyle>
      <a:defPPr>
        <a:defRPr lang="en-US"/>
      </a:defPPr>
      <a:lvl1pPr marL="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15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2302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3451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461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575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6690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78055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89209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3/14/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4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4.03.2024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84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5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 No bullet text 18</a:t>
            </a:r>
          </a:p>
          <a:p>
            <a:pPr lvl="4"/>
            <a:r>
              <a:rPr lang="en-GB" noProof="0" dirty="0"/>
              <a:t>5 </a:t>
            </a:r>
            <a:r>
              <a:rPr lang="en-GB" noProof="0" dirty="0" err="1"/>
              <a:t>Megaheader</a:t>
            </a:r>
            <a:r>
              <a:rPr lang="en-GB" noProof="0" dirty="0"/>
              <a:t> caps 48</a:t>
            </a:r>
          </a:p>
          <a:p>
            <a:pPr lvl="5"/>
            <a:r>
              <a:rPr lang="en-GB" noProof="0" dirty="0"/>
              <a:t>6 Header caps 18</a:t>
            </a:r>
          </a:p>
          <a:p>
            <a:pPr lvl="6"/>
            <a:r>
              <a:rPr lang="en-GB" noProof="0" dirty="0"/>
              <a:t>7 Text 18</a:t>
            </a:r>
          </a:p>
          <a:p>
            <a:pPr lvl="7"/>
            <a:r>
              <a:rPr lang="en-GB" noProof="0" dirty="0"/>
              <a:t>8 Number 16</a:t>
            </a:r>
          </a:p>
          <a:p>
            <a:pPr lvl="8"/>
            <a:r>
              <a:rPr lang="en-GB" noProof="0" dirty="0"/>
              <a:t>9 Letter 16</a:t>
            </a:r>
          </a:p>
          <a:p>
            <a:pPr lvl="8"/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14-03-2024</a:t>
            </a:fld>
            <a:endParaRPr lang="da-DK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2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ADE70B8-E712-464A-820F-239445307AD0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2212030" y="614050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9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  <p:sldLayoutId id="2147483927" r:id="rId31"/>
    <p:sldLayoutId id="2147483928" r:id="rId32"/>
    <p:sldLayoutId id="2147483929" r:id="rId33"/>
    <p:sldLayoutId id="2147483930" r:id="rId34"/>
    <p:sldLayoutId id="2147483931" r:id="rId35"/>
    <p:sldLayoutId id="2147483932" r:id="rId36"/>
    <p:sldLayoutId id="2147483933" r:id="rId37"/>
    <p:sldLayoutId id="2147483934" r:id="rId38"/>
    <p:sldLayoutId id="2147483935" r:id="rId39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41774" y="2620264"/>
            <a:ext cx="8259538" cy="1914146"/>
          </a:xfrm>
        </p:spPr>
        <p:txBody>
          <a:bodyPr/>
          <a:lstStyle/>
          <a:p>
            <a:r>
              <a:rPr lang="nb-NO" sz="3600" dirty="0"/>
              <a:t>Interessentanalyse og forankringsplan</a:t>
            </a:r>
          </a:p>
        </p:txBody>
      </p:sp>
    </p:spTree>
    <p:extLst>
      <p:ext uri="{BB962C8B-B14F-4D97-AF65-F5344CB8AC3E}">
        <p14:creationId xmlns:p14="http://schemas.microsoft.com/office/powerpoint/2010/main" val="23379540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154028"/>
            <a:ext cx="898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BD38024-8F0D-B95E-3436-8832D8E7C73E}"/>
              </a:ext>
            </a:extLst>
          </p:cNvPr>
          <p:cNvSpPr txBox="1"/>
          <p:nvPr/>
        </p:nvSpPr>
        <p:spPr>
          <a:xfrm>
            <a:off x="657043" y="233265"/>
            <a:ext cx="10605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 dirty="0"/>
              <a:t>Hva er interessentanalyse?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447200A-BF30-CAAC-4816-24A521FE1F27}"/>
              </a:ext>
            </a:extLst>
          </p:cNvPr>
          <p:cNvSpPr txBox="1"/>
          <p:nvPr/>
        </p:nvSpPr>
        <p:spPr>
          <a:xfrm>
            <a:off x="657043" y="1395167"/>
            <a:ext cx="981613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Grundig forståelse av interessentbildet er viktig for å lykkes med fortøyning og forank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nteressenter må håndteres ulikt ut fra deres interesser, holdninger og innflyt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nteressenter er personer og grupper som blir berørt av den ønskede endringen eller prosjektet. De kan påvirke positivt eller negativ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nteressentene kan ha ulike behov, forventninger og øns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I interessentanalysen identifiserer dere hvem det gjelder, og definerer strategi for forankring</a:t>
            </a:r>
          </a:p>
        </p:txBody>
      </p:sp>
    </p:spTree>
    <p:extLst>
      <p:ext uri="{BB962C8B-B14F-4D97-AF65-F5344CB8AC3E}">
        <p14:creationId xmlns:p14="http://schemas.microsoft.com/office/powerpoint/2010/main" val="135331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154028"/>
            <a:ext cx="898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C6ED0125-3E1A-7A89-BBFA-1AE9E0A5C576}"/>
              </a:ext>
            </a:extLst>
          </p:cNvPr>
          <p:cNvSpPr txBox="1"/>
          <p:nvPr/>
        </p:nvSpPr>
        <p:spPr>
          <a:xfrm>
            <a:off x="19451" y="41113"/>
            <a:ext cx="7481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Interessentanalyse</a:t>
            </a:r>
          </a:p>
        </p:txBody>
      </p:sp>
      <p:graphicFrame>
        <p:nvGraphicFramePr>
          <p:cNvPr id="13" name="Tabell 13">
            <a:extLst>
              <a:ext uri="{FF2B5EF4-FFF2-40B4-BE49-F238E27FC236}">
                <a16:creationId xmlns:a16="http://schemas.microsoft.com/office/drawing/2014/main" id="{2F41E21F-8FF9-2CDE-82EC-6A2BA3BB9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130486"/>
              </p:ext>
            </p:extLst>
          </p:nvPr>
        </p:nvGraphicFramePr>
        <p:xfrm>
          <a:off x="0" y="788458"/>
          <a:ext cx="12191999" cy="579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8482">
                  <a:extLst>
                    <a:ext uri="{9D8B030D-6E8A-4147-A177-3AD203B41FA5}">
                      <a16:colId xmlns:a16="http://schemas.microsoft.com/office/drawing/2014/main" val="2682528314"/>
                    </a:ext>
                  </a:extLst>
                </a:gridCol>
                <a:gridCol w="2432909">
                  <a:extLst>
                    <a:ext uri="{9D8B030D-6E8A-4147-A177-3AD203B41FA5}">
                      <a16:colId xmlns:a16="http://schemas.microsoft.com/office/drawing/2014/main" val="648285379"/>
                    </a:ext>
                  </a:extLst>
                </a:gridCol>
                <a:gridCol w="1177557">
                  <a:extLst>
                    <a:ext uri="{9D8B030D-6E8A-4147-A177-3AD203B41FA5}">
                      <a16:colId xmlns:a16="http://schemas.microsoft.com/office/drawing/2014/main" val="852035362"/>
                    </a:ext>
                  </a:extLst>
                </a:gridCol>
                <a:gridCol w="558388">
                  <a:extLst>
                    <a:ext uri="{9D8B030D-6E8A-4147-A177-3AD203B41FA5}">
                      <a16:colId xmlns:a16="http://schemas.microsoft.com/office/drawing/2014/main" val="778702491"/>
                    </a:ext>
                  </a:extLst>
                </a:gridCol>
                <a:gridCol w="1108953">
                  <a:extLst>
                    <a:ext uri="{9D8B030D-6E8A-4147-A177-3AD203B41FA5}">
                      <a16:colId xmlns:a16="http://schemas.microsoft.com/office/drawing/2014/main" val="4258256385"/>
                    </a:ext>
                  </a:extLst>
                </a:gridCol>
                <a:gridCol w="1400783">
                  <a:extLst>
                    <a:ext uri="{9D8B030D-6E8A-4147-A177-3AD203B41FA5}">
                      <a16:colId xmlns:a16="http://schemas.microsoft.com/office/drawing/2014/main" val="2104187954"/>
                    </a:ext>
                  </a:extLst>
                </a:gridCol>
                <a:gridCol w="3514927">
                  <a:extLst>
                    <a:ext uri="{9D8B030D-6E8A-4147-A177-3AD203B41FA5}">
                      <a16:colId xmlns:a16="http://schemas.microsoft.com/office/drawing/2014/main" val="1557607656"/>
                    </a:ext>
                  </a:extLst>
                </a:gridCol>
              </a:tblGrid>
              <a:tr h="539732">
                <a:tc>
                  <a:txBody>
                    <a:bodyPr/>
                    <a:lstStyle/>
                    <a:p>
                      <a:r>
                        <a:rPr lang="nb-NO" dirty="0"/>
                        <a:t>Interess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Hvordan berøres av/påvirker endring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Innflyt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Hold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Ev. an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Strategi for involvering og dialo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61789"/>
                  </a:ext>
                </a:extLst>
              </a:tr>
              <a:tr h="1876213">
                <a:tc>
                  <a:txBody>
                    <a:bodyPr/>
                    <a:lstStyle/>
                    <a:p>
                      <a:r>
                        <a:rPr lang="nb-NO" sz="1400" dirty="0"/>
                        <a:t>(Definer berørt part, som for eksempel rektor, sykepleier, barnevernspedago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(Definer hvordan interessenten berøres av endringen, som f.eks. «Vi får endrede arbeidsoppgaver, vi må samarbeide med andre på nye måter», og/eller hvordan endringen påvirker, som f.eks. «for at prosjektet skal lykkes må denne gruppen dokumentere i journal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ø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øyt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(bli enige om hvor mye interessenten skal involveres i prosjektet, og beskriv kort hvordan dette skal gjøres. F.eks. «Involveres aktivt i prosjektet, inviteres til alle arbeidsmøter </a:t>
                      </a:r>
                      <a:r>
                        <a:rPr lang="nb-NO" sz="1400" dirty="0" err="1"/>
                        <a:t>osv</a:t>
                      </a:r>
                      <a:r>
                        <a:rPr lang="nb-NO" sz="1400" dirty="0"/>
                        <a:t>»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2392420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Positiv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999547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La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egati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9314373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6101615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8318797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7171789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891624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595557"/>
                  </a:ext>
                </a:extLst>
              </a:tr>
              <a:tr h="312702"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66762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6444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154028"/>
            <a:ext cx="898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BD38024-8F0D-B95E-3436-8832D8E7C73E}"/>
              </a:ext>
            </a:extLst>
          </p:cNvPr>
          <p:cNvSpPr txBox="1"/>
          <p:nvPr/>
        </p:nvSpPr>
        <p:spPr>
          <a:xfrm>
            <a:off x="657043" y="233265"/>
            <a:ext cx="10605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 dirty="0"/>
              <a:t>Hva er en forankringsplan?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447200A-BF30-CAAC-4816-24A521FE1F27}"/>
              </a:ext>
            </a:extLst>
          </p:cNvPr>
          <p:cNvSpPr txBox="1"/>
          <p:nvPr/>
        </p:nvSpPr>
        <p:spPr>
          <a:xfrm>
            <a:off x="657043" y="1443805"/>
            <a:ext cx="981613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Forankringsplanen skal vise hva som må forankres med hvem, når, og hvordan det skal skje</a:t>
            </a:r>
            <a:br>
              <a:rPr lang="nb-NO" dirty="0"/>
            </a:b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En plan for forankring hjelper deg med å gjennomføre arbeidet på en strukturert måte, og holde orden på dialogen med de ulike interessent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a utgangspunkt i interessentanalysen for å avklare hva som er viktig å forankre med hver interessent, og hvordan dette skal gjøres. Tenk godt gjennom interessentens behov og holdninger når du fyller 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elg ulike kanaler for informasjon. Det er sjeldent nok å sende ut epost for å skape eierskap til planlagte end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t kan være mange ulike aktører involvert i innovasjonsprosesser utover ansatte og ledere i tjenesten. For eksempel politikere, administrative ledere, tillitsvalgte, leverandører, frivillige organisasjoner, pårøren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81100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CBD38024-8F0D-B95E-3436-8832D8E7C73E}"/>
              </a:ext>
            </a:extLst>
          </p:cNvPr>
          <p:cNvSpPr txBox="1"/>
          <p:nvPr/>
        </p:nvSpPr>
        <p:spPr>
          <a:xfrm>
            <a:off x="170926" y="233265"/>
            <a:ext cx="106050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Forankringsplan</a:t>
            </a:r>
          </a:p>
        </p:txBody>
      </p:sp>
      <p:graphicFrame>
        <p:nvGraphicFramePr>
          <p:cNvPr id="9" name="Tabell 9">
            <a:extLst>
              <a:ext uri="{FF2B5EF4-FFF2-40B4-BE49-F238E27FC236}">
                <a16:creationId xmlns:a16="http://schemas.microsoft.com/office/drawing/2014/main" id="{52DB560B-09C5-DDC1-7FF6-02AE9F6BDC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526797"/>
              </p:ext>
            </p:extLst>
          </p:nvPr>
        </p:nvGraphicFramePr>
        <p:xfrm>
          <a:off x="48635" y="943582"/>
          <a:ext cx="11997445" cy="52140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9489">
                  <a:extLst>
                    <a:ext uri="{9D8B030D-6E8A-4147-A177-3AD203B41FA5}">
                      <a16:colId xmlns:a16="http://schemas.microsoft.com/office/drawing/2014/main" val="4111715601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1090353152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3042271885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3793099137"/>
                    </a:ext>
                  </a:extLst>
                </a:gridCol>
                <a:gridCol w="2399489">
                  <a:extLst>
                    <a:ext uri="{9D8B030D-6E8A-4147-A177-3AD203B41FA5}">
                      <a16:colId xmlns:a16="http://schemas.microsoft.com/office/drawing/2014/main" val="78132992"/>
                    </a:ext>
                  </a:extLst>
                </a:gridCol>
              </a:tblGrid>
              <a:tr h="430079">
                <a:tc>
                  <a:txBody>
                    <a:bodyPr/>
                    <a:lstStyle/>
                    <a:p>
                      <a:r>
                        <a:rPr lang="nb-NO" dirty="0"/>
                        <a:t>Interess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Aktivi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Nå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Ansvarli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Statu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455751"/>
                  </a:ext>
                </a:extLst>
              </a:tr>
              <a:tr h="1343315">
                <a:tc>
                  <a:txBody>
                    <a:bodyPr/>
                    <a:lstStyle/>
                    <a:p>
                      <a:r>
                        <a:rPr lang="nb-NO" sz="1400" dirty="0"/>
                        <a:t>(oppgi berørt part, som for eksempel barnevernsleder eller plansjef. Eller kommunedirektø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(Bli enige om hva som skal forankres </a:t>
                      </a:r>
                      <a:r>
                        <a:rPr lang="nb-NO" sz="1400"/>
                        <a:t>og hvordan)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Bli enige om når det skal skje, som </a:t>
                      </a:r>
                      <a:r>
                        <a:rPr lang="nb-NO" sz="1400" dirty="0" err="1"/>
                        <a:t>f.eks</a:t>
                      </a:r>
                      <a:r>
                        <a:rPr lang="nb-NO" sz="1400" dirty="0"/>
                        <a:t> 15. janua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vem er ansvarlig for aktiviteten? Skriv inn 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Oppgi status for forankringsarbeidet, som f.eks. «under planlegging», må forberede presentasjon og kalle inn til et møte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6657293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471384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7066673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896493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7393014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2234881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4392188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8643116"/>
                  </a:ext>
                </a:extLst>
              </a:tr>
              <a:tr h="430079"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6818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333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799b1822-4923-4a0c-a23c-d1a624a909d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KS_slidemaster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NITO 050215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7_MW PPT 2013">
  <a:themeElements>
    <a:clrScheme name="Advantage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A3A101"/>
      </a:accent6>
      <a:hlink>
        <a:srgbClr val="BC5FBC"/>
      </a:hlink>
      <a:folHlink>
        <a:srgbClr val="9775A7"/>
      </a:folHlink>
    </a:clrScheme>
    <a:fontScheme name="Making Waves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49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marL="0" indent="0">
          <a:spcBef>
            <a:spcPct val="20000"/>
          </a:spcBef>
          <a:defRPr sz="1800" dirty="0" err="1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5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2. janua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Innovasjonsbarometeret 2018 – kommunal sekto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bfacf2-ebaf-442d-a005-1d450276c44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46EBAF92CD32348BD3EBA68629FA1A5" ma:contentTypeVersion="11" ma:contentTypeDescription="Opprett et nytt dokument." ma:contentTypeScope="" ma:versionID="2f4a6cefed34fdc3404297ae56f6dd00">
  <xsd:schema xmlns:xsd="http://www.w3.org/2001/XMLSchema" xmlns:xs="http://www.w3.org/2001/XMLSchema" xmlns:p="http://schemas.microsoft.com/office/2006/metadata/properties" xmlns:ns2="3dbfacf2-ebaf-442d-a005-1d450276c440" targetNamespace="http://schemas.microsoft.com/office/2006/metadata/properties" ma:root="true" ma:fieldsID="bf139d9e890df9cb247d2a4f70b872cc" ns2:_="">
    <xsd:import namespace="3dbfacf2-ebaf-442d-a005-1d450276c4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bfacf2-ebaf-442d-a005-1d450276c4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emerkelapper" ma:readOnly="false" ma:fieldId="{5cf76f15-5ced-4ddc-b409-7134ff3c332f}" ma:taxonomyMulti="true" ma:sspId="a5af897e-8ee3-44e6-a379-8efb93aa5b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F8C8A1-2CCF-401F-8A67-13207BAAD68D}">
  <ds:schemaRefs>
    <ds:schemaRef ds:uri="http://schemas.microsoft.com/office/2006/metadata/properties"/>
    <ds:schemaRef ds:uri="http://schemas.microsoft.com/office/infopath/2007/PartnerControls"/>
    <ds:schemaRef ds:uri="3dbfacf2-ebaf-442d-a005-1d450276c440"/>
  </ds:schemaRefs>
</ds:datastoreItem>
</file>

<file path=customXml/itemProps2.xml><?xml version="1.0" encoding="utf-8"?>
<ds:datastoreItem xmlns:ds="http://schemas.openxmlformats.org/officeDocument/2006/customXml" ds:itemID="{F30A75AF-1333-4774-A1C3-494AF2A72F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0F1A27-23D4-4AC6-8015-E4037C5F49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bfacf2-ebaf-442d-a005-1d450276c4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50 INI internt</Template>
  <TotalTime>63</TotalTime>
  <Words>426</Words>
  <Application>Microsoft Office PowerPoint</Application>
  <PresentationFormat>Widescreen</PresentationFormat>
  <Paragraphs>55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8_KS_slidemaster</vt:lpstr>
      <vt:lpstr>1_NITO 050215</vt:lpstr>
      <vt:lpstr>17_MW PPT 2013</vt:lpstr>
      <vt:lpstr>22. januar</vt:lpstr>
      <vt:lpstr>4_Innovasjonsbarometeret 2018 – kommunal sektor</vt:lpstr>
      <vt:lpstr>Blank</vt:lpstr>
      <vt:lpstr>Interessentanalyse og forankringspla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ankringsverktøy og interessentanalyse</dc:title>
  <dc:creator>Une Tangen</dc:creator>
  <cp:lastModifiedBy>Une Tangen</cp:lastModifiedBy>
  <cp:revision>2</cp:revision>
  <cp:lastPrinted>2019-10-28T10:24:27Z</cp:lastPrinted>
  <dcterms:created xsi:type="dcterms:W3CDTF">2023-12-11T21:08:08Z</dcterms:created>
  <dcterms:modified xsi:type="dcterms:W3CDTF">2024-03-14T12:3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oudStatistics_StoryID">
    <vt:lpwstr>d8fee394-e633-4cd3-9c6f-0785f346b81a</vt:lpwstr>
  </property>
  <property fmtid="{D5CDD505-2E9C-101B-9397-08002B2CF9AE}" pid="3" name="ContentTypeId">
    <vt:lpwstr>0x010100146EBAF92CD32348BD3EBA68629FA1A5</vt:lpwstr>
  </property>
</Properties>
</file>